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2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0-482E-BF90-BC3B6B5D5E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0-482E-BF90-BC3B6B5D5E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60-482E-BF90-BC3B6B5D5E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3673135"/>
        <c:axId val="323673615"/>
      </c:areaChart>
      <c:catAx>
        <c:axId val="3236731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3673615"/>
        <c:crosses val="autoZero"/>
        <c:auto val="1"/>
        <c:lblAlgn val="ctr"/>
        <c:lblOffset val="100"/>
        <c:noMultiLvlLbl val="0"/>
      </c:catAx>
      <c:valAx>
        <c:axId val="32367361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3673135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7605E2-5FF2-7F30-29EA-AFE82ED48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6FF015C-EB93-47EC-BAA0-61EBDE4E6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FF015C-EB93-47EC-BAA0-61EBDE4E6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5FC66FFB-4014-4BA9-3267-92FC09C24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100% Area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D824D6C-C629-1598-31A0-9D9B2AC4CD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1AA06151-07B4-713F-2C89-4AC3A38C91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9440B02-2106-A82D-F8C4-2A81790C24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10" name="Chart Placeholder 9">
            <a:extLst>
              <a:ext uri="{FF2B5EF4-FFF2-40B4-BE49-F238E27FC236}">
                <a16:creationId xmlns:a16="http://schemas.microsoft.com/office/drawing/2014/main" id="{B2498E41-3CE5-15F2-4B22-D7AF8763854E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11083925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34889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4</TotalTime>
  <Words>16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100% Area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58</cp:revision>
  <dcterms:created xsi:type="dcterms:W3CDTF">2025-07-09T10:57:17Z</dcterms:created>
  <dcterms:modified xsi:type="dcterms:W3CDTF">2025-10-22T09:48:55Z</dcterms:modified>
  <cp:category/>
</cp:coreProperties>
</file>